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53" r:id="rId2"/>
    <p:sldId id="355" r:id="rId3"/>
    <p:sldId id="351" r:id="rId4"/>
    <p:sldId id="357" r:id="rId5"/>
    <p:sldId id="360" r:id="rId6"/>
    <p:sldId id="359" r:id="rId7"/>
    <p:sldId id="362" r:id="rId8"/>
    <p:sldId id="363" r:id="rId9"/>
    <p:sldId id="364" r:id="rId10"/>
    <p:sldId id="361" r:id="rId11"/>
    <p:sldId id="366" r:id="rId12"/>
    <p:sldId id="365" r:id="rId13"/>
    <p:sldId id="354" r:id="rId14"/>
    <p:sldId id="367" r:id="rId15"/>
    <p:sldId id="356" r:id="rId16"/>
  </p:sldIdLst>
  <p:sldSz cx="11949113" cy="6721475"/>
  <p:notesSz cx="7099300" cy="10234613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1C2C"/>
    <a:srgbClr val="0563BB"/>
    <a:srgbClr val="0354B0"/>
    <a:srgbClr val="0049A6"/>
    <a:srgbClr val="0457B5"/>
    <a:srgbClr val="10A2ED"/>
    <a:srgbClr val="087CE3"/>
    <a:srgbClr val="055CB9"/>
    <a:srgbClr val="035CB8"/>
    <a:srgbClr val="066B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473" autoAdjust="0"/>
    <p:restoredTop sz="96814" autoAdjust="0"/>
  </p:normalViewPr>
  <p:slideViewPr>
    <p:cSldViewPr snapToGrid="0" snapToObjects="1">
      <p:cViewPr varScale="1">
        <p:scale>
          <a:sx n="134" d="100"/>
          <a:sy n="134" d="100"/>
        </p:scale>
        <p:origin x="632" y="176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719" y="549825"/>
            <a:ext cx="6647971" cy="373989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4896" y="5499465"/>
            <a:ext cx="6049780" cy="126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5558" y="9842082"/>
            <a:ext cx="563197" cy="190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90" y="1179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11" name="Notes Placeholder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93078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3.09.2019 18:43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>
                <a:solidFill>
                  <a:schemeClr val="bg1"/>
                </a:solidFill>
                <a:latin typeface="+mn-lt"/>
              </a:rPr>
              <a:t>Any use of this material without specific permission is strictly prohibited</a:t>
            </a:r>
            <a:endParaRPr lang="en-US" sz="800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29003" y="258214"/>
            <a:ext cx="1706951" cy="542847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501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1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8256305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6277" y="1940592"/>
            <a:ext cx="223939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3.09.2019 18:43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44.xml"/><Relationship Id="rId7" Type="http://schemas.openxmlformats.org/officeDocument/2006/relationships/image" Target="../media/image31.png"/><Relationship Id="rId2" Type="http://schemas.openxmlformats.org/officeDocument/2006/relationships/tags" Target="../tags/tag4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6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tags" Target="../tags/tag48.xml"/><Relationship Id="rId15" Type="http://schemas.openxmlformats.org/officeDocument/2006/relationships/image" Target="../media/image11.emf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image" Target="../media/image12.png"/><Relationship Id="rId3" Type="http://schemas.openxmlformats.org/officeDocument/2006/relationships/tags" Target="../tags/tag24.xml"/><Relationship Id="rId21" Type="http://schemas.openxmlformats.org/officeDocument/2006/relationships/image" Target="../media/image15.png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image" Target="../media/image11.emf"/><Relationship Id="rId2" Type="http://schemas.openxmlformats.org/officeDocument/2006/relationships/tags" Target="../tags/tag23.xml"/><Relationship Id="rId16" Type="http://schemas.openxmlformats.org/officeDocument/2006/relationships/oleObject" Target="../embeddings/oleObject4.bin"/><Relationship Id="rId20" Type="http://schemas.openxmlformats.org/officeDocument/2006/relationships/image" Target="../media/image14.png"/><Relationship Id="rId1" Type="http://schemas.openxmlformats.org/officeDocument/2006/relationships/vmlDrawing" Target="../drawings/vmlDrawing4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31.xml"/><Relationship Id="rId19" Type="http://schemas.openxmlformats.org/officeDocument/2006/relationships/image" Target="../media/image13.png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F90874F-928C-EF4A-9672-C0FC4BB63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1392" y="1162173"/>
            <a:ext cx="10146323" cy="1477328"/>
          </a:xfrm>
        </p:spPr>
        <p:txBody>
          <a:bodyPr/>
          <a:lstStyle/>
          <a:p>
            <a:r>
              <a:rPr lang="en" sz="4800" dirty="0"/>
              <a:t>Machine learning in optical metrology</a:t>
            </a:r>
            <a:endParaRPr lang="ru-RU" sz="480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4575099-3ECB-F54B-8327-68744B6F1D9C}"/>
              </a:ext>
            </a:extLst>
          </p:cNvPr>
          <p:cNvSpPr/>
          <p:nvPr/>
        </p:nvSpPr>
        <p:spPr>
          <a:xfrm>
            <a:off x="2988467" y="5644257"/>
            <a:ext cx="5972175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dirty="0" err="1">
                <a:solidFill>
                  <a:schemeClr val="tx2"/>
                </a:solidFill>
                <a:latin typeface="+mj-lt"/>
              </a:rPr>
              <a:t>Danil</a:t>
            </a:r>
            <a:r>
              <a:rPr lang="en" dirty="0">
                <a:solidFill>
                  <a:schemeClr val="tx2"/>
                </a:solidFill>
                <a:latin typeface="+mj-lt"/>
              </a:rPr>
              <a:t> </a:t>
            </a:r>
            <a:r>
              <a:rPr lang="en" dirty="0" err="1">
                <a:solidFill>
                  <a:schemeClr val="tx2"/>
                </a:solidFill>
                <a:latin typeface="+mj-lt"/>
              </a:rPr>
              <a:t>Lykov</a:t>
            </a:r>
            <a:r>
              <a:rPr lang="en" dirty="0">
                <a:solidFill>
                  <a:schemeClr val="tx2"/>
                </a:solidFill>
                <a:latin typeface="+mj-lt"/>
              </a:rPr>
              <a:t>, Maksim </a:t>
            </a:r>
            <a:r>
              <a:rPr lang="en" dirty="0" err="1">
                <a:solidFill>
                  <a:schemeClr val="tx2"/>
                </a:solidFill>
                <a:latin typeface="+mj-lt"/>
              </a:rPr>
              <a:t>Eliseev</a:t>
            </a:r>
            <a:endParaRPr lang="en" dirty="0">
              <a:solidFill>
                <a:schemeClr val="tx2"/>
              </a:solidFill>
              <a:latin typeface="+mj-lt"/>
            </a:endParaRPr>
          </a:p>
          <a:p>
            <a:br>
              <a:rPr lang="en" dirty="0"/>
            </a:br>
            <a:br>
              <a:rPr lang="en" dirty="0"/>
            </a:br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AAC272C-8977-4A44-A835-64DDDA96F8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9561" y="2270490"/>
            <a:ext cx="3409767" cy="255732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6068B67-BA55-914C-A8DC-0FFC609012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786" y="2270489"/>
            <a:ext cx="3409766" cy="2557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9462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7A4255-E493-C346-BF30-B5CB3B12C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cal model</a:t>
            </a:r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6AFFF91-F418-CA4A-8CE1-7F04285717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0201" y="1057275"/>
            <a:ext cx="8168709" cy="490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1923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E42ECBD-7567-3D47-A21F-BF95F3621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olutional Neural Network (CNN)</a:t>
            </a:r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00B48AB-47A6-6245-BE13-EFC39F219D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7073" y="771034"/>
            <a:ext cx="8094965" cy="5179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0846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5F1078B-409C-434C-BE2C-906A155D6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nciple Component Analysis + neural network</a:t>
            </a:r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074F71F-4CDB-5549-9531-508378CB26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0401" y="658503"/>
            <a:ext cx="7208309" cy="5404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0304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1BE5254-EDCA-4BBA-A76D-348184B469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4425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C5F048-5113-4C20-9C8D-BFC3F6FF7B6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F5DB82-921B-9543-8CAF-872462660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07777"/>
          </a:xfrm>
        </p:spPr>
        <p:txBody>
          <a:bodyPr/>
          <a:lstStyle/>
          <a:p>
            <a:r>
              <a:rPr lang="en-US" dirty="0"/>
              <a:t>Ensemble methods</a:t>
            </a:r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A65DA1F-CD3C-3140-B4E8-33B98030F77A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156086" y="2789450"/>
            <a:ext cx="5349363" cy="3271511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E922910-878A-934F-A0DC-0B6B57B37AFD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6199653" y="2789450"/>
            <a:ext cx="5349363" cy="3271511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1C051BD-5B67-E94C-97C2-D5066E65CCCB}"/>
              </a:ext>
            </a:extLst>
          </p:cNvPr>
          <p:cNvSpPr>
            <a:spLocks/>
          </p:cNvSpPr>
          <p:nvPr/>
        </p:nvSpPr>
        <p:spPr>
          <a:xfrm>
            <a:off x="158758" y="904875"/>
            <a:ext cx="5346691" cy="5387663"/>
          </a:xfrm>
          <a:prstGeom prst="rect">
            <a:avLst/>
          </a:prstGeom>
          <a:noFill/>
          <a:ln w="19050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algn="just">
              <a:buClr>
                <a:schemeClr val="tx2"/>
              </a:buClr>
            </a:pPr>
            <a:r>
              <a:rPr lang="en-US" sz="1400" dirty="0">
                <a:solidFill>
                  <a:schemeClr val="tx1"/>
                </a:solidFill>
              </a:rPr>
              <a:t>Several models make predictions using random part of train data. Using these predictions one prediction is made using the following methods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Mean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" sz="1400" dirty="0">
                <a:solidFill>
                  <a:schemeClr val="tx1"/>
                </a:solidFill>
              </a:rPr>
              <a:t>Quantile</a:t>
            </a:r>
            <a:endParaRPr lang="ru-RU" sz="14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" sz="1400" dirty="0" err="1">
                <a:solidFill>
                  <a:schemeClr val="tx1"/>
                </a:solidFill>
              </a:rPr>
              <a:t>Clusterization</a:t>
            </a:r>
            <a:endParaRPr lang="ru-RU" sz="1400" dirty="0">
              <a:solidFill>
                <a:schemeClr val="tx1"/>
              </a:solidFill>
            </a:endParaRPr>
          </a:p>
          <a:p>
            <a:pPr algn="ctr">
              <a:buClr>
                <a:schemeClr val="tx2"/>
              </a:buClr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EE0536F-A9CC-E246-878B-E41863C8CE80}"/>
              </a:ext>
            </a:extLst>
          </p:cNvPr>
          <p:cNvSpPr>
            <a:spLocks/>
          </p:cNvSpPr>
          <p:nvPr/>
        </p:nvSpPr>
        <p:spPr>
          <a:xfrm>
            <a:off x="6200989" y="904875"/>
            <a:ext cx="5346691" cy="5387663"/>
          </a:xfrm>
          <a:prstGeom prst="rect">
            <a:avLst/>
          </a:prstGeom>
          <a:noFill/>
          <a:ln w="19050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algn="just">
              <a:buClr>
                <a:schemeClr val="tx2"/>
              </a:buClr>
            </a:pPr>
            <a:r>
              <a:rPr lang="en-US" sz="1400" dirty="0">
                <a:solidFill>
                  <a:schemeClr val="tx1"/>
                </a:solidFill>
              </a:rPr>
              <a:t>These methods allows us achieve best results because of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Every models improve each other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" sz="1400" dirty="0">
                <a:solidFill>
                  <a:schemeClr val="tx1"/>
                </a:solidFill>
              </a:rPr>
              <a:t>Delete bed predictions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" sz="1400" dirty="0">
                <a:solidFill>
                  <a:schemeClr val="tx1"/>
                </a:solidFill>
              </a:rPr>
              <a:t>Find familiar predictions</a:t>
            </a:r>
            <a:endParaRPr lang="ru-RU" sz="1400" dirty="0">
              <a:solidFill>
                <a:schemeClr val="tx1"/>
              </a:solidFill>
            </a:endParaRPr>
          </a:p>
          <a:p>
            <a:pPr algn="ctr">
              <a:buClr>
                <a:schemeClr val="tx2"/>
              </a:buClr>
            </a:pP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9645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027F5B-57AC-794E-9B21-BFA7FEA83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semble efficiency</a:t>
            </a:r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7973DAA-D02E-184B-82B9-730ABEF746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6823" y="632120"/>
            <a:ext cx="7095466" cy="5457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196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DB7A8A99-953F-4741-8C81-3F1EFE6791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114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4" name="think-cell Slide" r:id="rId14" imgW="306" imgH="306" progId="TCLayout.ActiveDocument.1">
                  <p:embed/>
                </p:oleObj>
              </mc:Choice>
              <mc:Fallback>
                <p:oleObj name="think-cell Slide" r:id="rId1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5E2B1766-4974-4705-98C3-F66CBE48D06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2CEB0B2-E463-4E49-A9C7-F4F5EC236C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07777"/>
          </a:xfrm>
        </p:spPr>
        <p:txBody>
          <a:bodyPr/>
          <a:lstStyle/>
          <a:p>
            <a:r>
              <a:rPr lang="en-US" dirty="0"/>
              <a:t>Future steps</a:t>
            </a:r>
            <a:endParaRPr lang="ru-RU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C1F25E4-5ED4-4D03-9DCC-CB29C62E0EE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182949" y="2768951"/>
            <a:ext cx="5222866" cy="1472497"/>
            <a:chOff x="158759" y="2633143"/>
            <a:chExt cx="5222866" cy="1472497"/>
          </a:xfrm>
        </p:grpSpPr>
        <p:sp>
          <p:nvSpPr>
            <p:cNvPr id="18" name="Freeform: Shape 2">
              <a:extLst>
                <a:ext uri="{FF2B5EF4-FFF2-40B4-BE49-F238E27FC236}">
                  <a16:creationId xmlns:a16="http://schemas.microsoft.com/office/drawing/2014/main" id="{D7C1C309-0FB1-DB47-BC3F-DBAA671E7345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58759" y="2633143"/>
              <a:ext cx="5222866" cy="1472497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185959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185959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185959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5992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5992 w 1828800"/>
                <a:gd name="connsiteY1" fmla="*/ 0 h 914400"/>
                <a:gd name="connsiteX2" fmla="*/ 1828800 w 1828800"/>
                <a:gd name="connsiteY2" fmla="*/ 457200 h 914400"/>
                <a:gd name="connsiteX3" fmla="*/ 173599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5992" y="0"/>
                  </a:lnTo>
                  <a:lnTo>
                    <a:pt x="1828800" y="457200"/>
                  </a:lnTo>
                  <a:lnTo>
                    <a:pt x="1735992" y="914400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CF5B314-1069-5B45-8E38-ACD0F90514B0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222259" y="2735400"/>
              <a:ext cx="4894317" cy="1267984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b="1" dirty="0">
                  <a:solidFill>
                    <a:schemeClr val="accent4"/>
                  </a:solidFill>
                </a:rPr>
                <a:t>Other model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b="1" dirty="0">
                  <a:solidFill>
                    <a:schemeClr val="accent4"/>
                  </a:solidFill>
                </a:rPr>
                <a:t>Boosting nets</a:t>
              </a:r>
              <a:endParaRPr lang="ru-RU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9F62F1D-AEE5-4197-BF73-4CDFDA0A046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182949" y="4518727"/>
            <a:ext cx="5222866" cy="1472497"/>
            <a:chOff x="158759" y="4363415"/>
            <a:chExt cx="5222866" cy="1472497"/>
          </a:xfrm>
        </p:grpSpPr>
        <p:sp>
          <p:nvSpPr>
            <p:cNvPr id="21" name="Freeform: Shape 2">
              <a:extLst>
                <a:ext uri="{FF2B5EF4-FFF2-40B4-BE49-F238E27FC236}">
                  <a16:creationId xmlns:a16="http://schemas.microsoft.com/office/drawing/2014/main" id="{823987F5-9760-C143-8E5D-C75E1AF2158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158759" y="4363415"/>
              <a:ext cx="5222866" cy="1472497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185959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185959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185959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5992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5992 w 1828800"/>
                <a:gd name="connsiteY1" fmla="*/ 0 h 914400"/>
                <a:gd name="connsiteX2" fmla="*/ 1828800 w 1828800"/>
                <a:gd name="connsiteY2" fmla="*/ 457200 h 914400"/>
                <a:gd name="connsiteX3" fmla="*/ 173599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5992" y="0"/>
                  </a:lnTo>
                  <a:lnTo>
                    <a:pt x="1828800" y="457200"/>
                  </a:lnTo>
                  <a:lnTo>
                    <a:pt x="1735992" y="914400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1606A1A-536B-2549-9F4B-DB22BC6851CE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222259" y="4465672"/>
              <a:ext cx="4894317" cy="1267984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b="1" dirty="0">
                  <a:solidFill>
                    <a:schemeClr val="accent4"/>
                  </a:solidFill>
                </a:rPr>
                <a:t>Preprocessing</a:t>
              </a:r>
              <a:endParaRPr lang="ru-RU" b="1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A938CE99-03F6-4E07-9A40-F2F5366E65FF}"/>
              </a:ext>
            </a:extLst>
          </p:cNvPr>
          <p:cNvSpPr txBox="1"/>
          <p:nvPr/>
        </p:nvSpPr>
        <p:spPr>
          <a:xfrm>
            <a:off x="6920985" y="1019175"/>
            <a:ext cx="3705475" cy="4972049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chemeClr val="lt1"/>
              </a:buClr>
            </a:pPr>
            <a:r>
              <a:rPr lang="en-US" b="1" dirty="0">
                <a:solidFill>
                  <a:schemeClr val="lt1"/>
                </a:solidFill>
              </a:rPr>
              <a:t>Fast measurements and better data</a:t>
            </a:r>
            <a:endParaRPr lang="ru-RU" b="1" dirty="0">
              <a:solidFill>
                <a:schemeClr val="lt1"/>
              </a:solidFill>
            </a:endParaRPr>
          </a:p>
          <a:p>
            <a:pPr lvl="1">
              <a:spcBef>
                <a:spcPts val="600"/>
              </a:spcBef>
              <a:buClr>
                <a:schemeClr val="lt1"/>
              </a:buClr>
            </a:pPr>
            <a:r>
              <a:rPr lang="en-US" b="1" dirty="0">
                <a:solidFill>
                  <a:schemeClr val="lt1"/>
                </a:solidFill>
              </a:rPr>
              <a:t>More powerful and precise models</a:t>
            </a:r>
            <a:endParaRPr lang="ru-RU" b="1" dirty="0">
              <a:solidFill>
                <a:schemeClr val="lt1"/>
              </a:solidFill>
            </a:endParaRPr>
          </a:p>
          <a:p>
            <a:pPr lvl="1">
              <a:spcBef>
                <a:spcPts val="600"/>
              </a:spcBef>
              <a:buClr>
                <a:schemeClr val="lt1"/>
              </a:buClr>
            </a:pPr>
            <a:r>
              <a:rPr lang="en-US" b="1" dirty="0">
                <a:solidFill>
                  <a:schemeClr val="lt1"/>
                </a:solidFill>
              </a:rPr>
              <a:t>Better and valuable data </a:t>
            </a:r>
            <a:endParaRPr lang="ru-RU" b="1" dirty="0">
              <a:solidFill>
                <a:schemeClr val="lt1"/>
              </a:solidFill>
            </a:endParaRPr>
          </a:p>
        </p:txBody>
      </p:sp>
      <p:grpSp>
        <p:nvGrpSpPr>
          <p:cNvPr id="6" name="Graphic 4">
            <a:extLst>
              <a:ext uri="{FF2B5EF4-FFF2-40B4-BE49-F238E27FC236}">
                <a16:creationId xmlns:a16="http://schemas.microsoft.com/office/drawing/2014/main" id="{2DCD8D5C-00F7-475D-825B-8B27C2138600}"/>
              </a:ext>
            </a:extLst>
          </p:cNvPr>
          <p:cNvGrpSpPr/>
          <p:nvPr/>
        </p:nvGrpSpPr>
        <p:grpSpPr>
          <a:xfrm>
            <a:off x="9451798" y="4476462"/>
            <a:ext cx="1022262" cy="1365796"/>
            <a:chOff x="5707014" y="3007470"/>
            <a:chExt cx="1677247" cy="2240891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A778E14-4CFB-4D15-B197-4376BEFAF9E9}"/>
                </a:ext>
              </a:extLst>
            </p:cNvPr>
            <p:cNvSpPr/>
            <p:nvPr/>
          </p:nvSpPr>
          <p:spPr>
            <a:xfrm>
              <a:off x="6240423" y="4940919"/>
              <a:ext cx="604700" cy="95479"/>
            </a:xfrm>
            <a:custGeom>
              <a:avLst/>
              <a:gdLst>
                <a:gd name="connsiteX0" fmla="*/ 59674 w 604700"/>
                <a:gd name="connsiteY0" fmla="*/ 59674 h 95478"/>
                <a:gd name="connsiteX1" fmla="*/ 562849 w 604700"/>
                <a:gd name="connsiteY1" fmla="*/ 59674 h 95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700" h="95478">
                  <a:moveTo>
                    <a:pt x="59674" y="59674"/>
                  </a:moveTo>
                  <a:lnTo>
                    <a:pt x="562849" y="59674"/>
                  </a:lnTo>
                </a:path>
              </a:pathLst>
            </a:custGeom>
            <a:ln w="23813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F3F1F34C-DE90-42C6-9CAF-48BB06231AAA}"/>
                </a:ext>
              </a:extLst>
            </p:cNvPr>
            <p:cNvSpPr/>
            <p:nvPr/>
          </p:nvSpPr>
          <p:spPr>
            <a:xfrm>
              <a:off x="6361999" y="5152882"/>
              <a:ext cx="350090" cy="95479"/>
            </a:xfrm>
            <a:custGeom>
              <a:avLst/>
              <a:gdLst>
                <a:gd name="connsiteX0" fmla="*/ 59674 w 350089"/>
                <a:gd name="connsiteY0" fmla="*/ 59674 h 95478"/>
                <a:gd name="connsiteX1" fmla="*/ 320014 w 350089"/>
                <a:gd name="connsiteY1" fmla="*/ 59674 h 95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0089" h="95478">
                  <a:moveTo>
                    <a:pt x="59674" y="59674"/>
                  </a:moveTo>
                  <a:lnTo>
                    <a:pt x="320014" y="59674"/>
                  </a:lnTo>
                </a:path>
              </a:pathLst>
            </a:custGeom>
            <a:ln w="23813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9924EE6-2117-4919-BE33-46DE29FF5C3B}"/>
                </a:ext>
              </a:extLst>
            </p:cNvPr>
            <p:cNvSpPr/>
            <p:nvPr/>
          </p:nvSpPr>
          <p:spPr>
            <a:xfrm>
              <a:off x="5858029" y="3357082"/>
              <a:ext cx="1368532" cy="1495837"/>
            </a:xfrm>
            <a:custGeom>
              <a:avLst/>
              <a:gdLst>
                <a:gd name="connsiteX0" fmla="*/ 693496 w 1368532"/>
                <a:gd name="connsiteY0" fmla="*/ 103436 h 1495837"/>
                <a:gd name="connsiteX1" fmla="*/ 1283874 w 1368532"/>
                <a:gd name="connsiteY1" fmla="*/ 681083 h 1495837"/>
                <a:gd name="connsiteX2" fmla="*/ 1179484 w 1368532"/>
                <a:gd name="connsiteY2" fmla="*/ 1009849 h 1495837"/>
                <a:gd name="connsiteX3" fmla="*/ 1103419 w 1368532"/>
                <a:gd name="connsiteY3" fmla="*/ 1084641 h 1495837"/>
                <a:gd name="connsiteX4" fmla="*/ 900367 w 1368532"/>
                <a:gd name="connsiteY4" fmla="*/ 1402905 h 1495837"/>
                <a:gd name="connsiteX5" fmla="*/ 486306 w 1368532"/>
                <a:gd name="connsiteY5" fmla="*/ 1402905 h 1495837"/>
                <a:gd name="connsiteX6" fmla="*/ 284209 w 1368532"/>
                <a:gd name="connsiteY6" fmla="*/ 1085278 h 1495837"/>
                <a:gd name="connsiteX7" fmla="*/ 208462 w 1368532"/>
                <a:gd name="connsiteY7" fmla="*/ 1010804 h 1495837"/>
                <a:gd name="connsiteX8" fmla="*/ 103436 w 1368532"/>
                <a:gd name="connsiteY8" fmla="*/ 681083 h 1495837"/>
                <a:gd name="connsiteX9" fmla="*/ 693496 w 1368532"/>
                <a:gd name="connsiteY9" fmla="*/ 103436 h 1495837"/>
                <a:gd name="connsiteX10" fmla="*/ 693496 w 1368532"/>
                <a:gd name="connsiteY10" fmla="*/ 23870 h 1495837"/>
                <a:gd name="connsiteX11" fmla="*/ 23870 w 1368532"/>
                <a:gd name="connsiteY11" fmla="*/ 681083 h 1495837"/>
                <a:gd name="connsiteX12" fmla="*/ 148311 w 1368532"/>
                <a:gd name="connsiteY12" fmla="*/ 1062681 h 1495837"/>
                <a:gd name="connsiteX13" fmla="*/ 417561 w 1368532"/>
                <a:gd name="connsiteY13" fmla="*/ 1482152 h 1495837"/>
                <a:gd name="connsiteX14" fmla="*/ 969112 w 1368532"/>
                <a:gd name="connsiteY14" fmla="*/ 1482152 h 1495837"/>
                <a:gd name="connsiteX15" fmla="*/ 1238999 w 1368532"/>
                <a:gd name="connsiteY15" fmla="*/ 1062681 h 1495837"/>
                <a:gd name="connsiteX16" fmla="*/ 1363440 w 1368532"/>
                <a:gd name="connsiteY16" fmla="*/ 681083 h 1495837"/>
                <a:gd name="connsiteX17" fmla="*/ 693496 w 1368532"/>
                <a:gd name="connsiteY17" fmla="*/ 23870 h 1495837"/>
                <a:gd name="connsiteX18" fmla="*/ 693496 w 1368532"/>
                <a:gd name="connsiteY18" fmla="*/ 23870 h 1495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68532" h="1495837">
                  <a:moveTo>
                    <a:pt x="693496" y="103436"/>
                  </a:moveTo>
                  <a:cubicBezTo>
                    <a:pt x="1019079" y="103436"/>
                    <a:pt x="1283874" y="362502"/>
                    <a:pt x="1283874" y="681083"/>
                  </a:cubicBezTo>
                  <a:cubicBezTo>
                    <a:pt x="1283874" y="826212"/>
                    <a:pt x="1253639" y="921691"/>
                    <a:pt x="1179484" y="1009849"/>
                  </a:cubicBezTo>
                  <a:cubicBezTo>
                    <a:pt x="1154341" y="1036584"/>
                    <a:pt x="1128562" y="1061090"/>
                    <a:pt x="1103419" y="1084641"/>
                  </a:cubicBezTo>
                  <a:cubicBezTo>
                    <a:pt x="1019716" y="1163252"/>
                    <a:pt x="933784" y="1244409"/>
                    <a:pt x="900367" y="1402905"/>
                  </a:cubicBezTo>
                  <a:lnTo>
                    <a:pt x="486306" y="1402905"/>
                  </a:lnTo>
                  <a:cubicBezTo>
                    <a:pt x="453207" y="1244728"/>
                    <a:pt x="367594" y="1163889"/>
                    <a:pt x="284209" y="1085278"/>
                  </a:cubicBezTo>
                  <a:cubicBezTo>
                    <a:pt x="259385" y="1061726"/>
                    <a:pt x="233605" y="1037538"/>
                    <a:pt x="208462" y="1010804"/>
                  </a:cubicBezTo>
                  <a:cubicBezTo>
                    <a:pt x="137808" y="922964"/>
                    <a:pt x="103436" y="815072"/>
                    <a:pt x="103436" y="681083"/>
                  </a:cubicBezTo>
                  <a:cubicBezTo>
                    <a:pt x="103436" y="362502"/>
                    <a:pt x="368231" y="103436"/>
                    <a:pt x="693496" y="103436"/>
                  </a:cubicBezTo>
                  <a:moveTo>
                    <a:pt x="693496" y="23870"/>
                  </a:moveTo>
                  <a:cubicBezTo>
                    <a:pt x="323674" y="23870"/>
                    <a:pt x="23870" y="318263"/>
                    <a:pt x="23870" y="681083"/>
                  </a:cubicBezTo>
                  <a:cubicBezTo>
                    <a:pt x="23870" y="853264"/>
                    <a:pt x="76701" y="974841"/>
                    <a:pt x="148311" y="1062681"/>
                  </a:cubicBezTo>
                  <a:cubicBezTo>
                    <a:pt x="271479" y="1195715"/>
                    <a:pt x="396556" y="1254276"/>
                    <a:pt x="417561" y="1482152"/>
                  </a:cubicBezTo>
                  <a:lnTo>
                    <a:pt x="969112" y="1482152"/>
                  </a:lnTo>
                  <a:cubicBezTo>
                    <a:pt x="990435" y="1253957"/>
                    <a:pt x="1115195" y="1195715"/>
                    <a:pt x="1238999" y="1062681"/>
                  </a:cubicBezTo>
                  <a:cubicBezTo>
                    <a:pt x="1322384" y="964338"/>
                    <a:pt x="1363440" y="852946"/>
                    <a:pt x="1363440" y="681083"/>
                  </a:cubicBezTo>
                  <a:cubicBezTo>
                    <a:pt x="1363440" y="317945"/>
                    <a:pt x="1063318" y="23870"/>
                    <a:pt x="693496" y="23870"/>
                  </a:cubicBezTo>
                  <a:lnTo>
                    <a:pt x="693496" y="2387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CB38F42-8EA5-44CE-BA63-C3A122F20F7F}"/>
                </a:ext>
              </a:extLst>
            </p:cNvPr>
            <p:cNvSpPr/>
            <p:nvPr/>
          </p:nvSpPr>
          <p:spPr>
            <a:xfrm>
              <a:off x="6492169" y="3007470"/>
              <a:ext cx="95479" cy="254611"/>
            </a:xfrm>
            <a:custGeom>
              <a:avLst/>
              <a:gdLst>
                <a:gd name="connsiteX0" fmla="*/ 59674 w 95478"/>
                <a:gd name="connsiteY0" fmla="*/ 202575 h 254610"/>
                <a:gd name="connsiteX1" fmla="*/ 59674 w 95478"/>
                <a:gd name="connsiteY1" fmla="*/ 59674 h 25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478" h="254610">
                  <a:moveTo>
                    <a:pt x="59674" y="202575"/>
                  </a:moveTo>
                  <a:lnTo>
                    <a:pt x="59674" y="59674"/>
                  </a:lnTo>
                </a:path>
              </a:pathLst>
            </a:custGeom>
            <a:ln w="23813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8AEDF0C-DBBF-4CCD-AA48-32505E55F326}"/>
                </a:ext>
              </a:extLst>
            </p:cNvPr>
            <p:cNvSpPr/>
            <p:nvPr/>
          </p:nvSpPr>
          <p:spPr>
            <a:xfrm>
              <a:off x="7161477" y="3343874"/>
              <a:ext cx="222784" cy="222784"/>
            </a:xfrm>
            <a:custGeom>
              <a:avLst/>
              <a:gdLst>
                <a:gd name="connsiteX0" fmla="*/ 59674 w 222784"/>
                <a:gd name="connsiteY0" fmla="*/ 175840 h 222784"/>
                <a:gd name="connsiteX1" fmla="*/ 175204 w 222784"/>
                <a:gd name="connsiteY1" fmla="*/ 59674 h 22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2784" h="222784">
                  <a:moveTo>
                    <a:pt x="59674" y="175840"/>
                  </a:moveTo>
                  <a:lnTo>
                    <a:pt x="175204" y="59674"/>
                  </a:lnTo>
                </a:path>
              </a:pathLst>
            </a:custGeom>
            <a:ln w="23813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29235BA-4146-41DA-B4BB-DE831F010A99}"/>
                </a:ext>
              </a:extLst>
            </p:cNvPr>
            <p:cNvSpPr/>
            <p:nvPr/>
          </p:nvSpPr>
          <p:spPr>
            <a:xfrm>
              <a:off x="5707014" y="3343874"/>
              <a:ext cx="222784" cy="222784"/>
            </a:xfrm>
            <a:custGeom>
              <a:avLst/>
              <a:gdLst>
                <a:gd name="connsiteX0" fmla="*/ 59674 w 222784"/>
                <a:gd name="connsiteY0" fmla="*/ 59674 h 222784"/>
                <a:gd name="connsiteX1" fmla="*/ 175204 w 222784"/>
                <a:gd name="connsiteY1" fmla="*/ 175840 h 22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2784" h="222784">
                  <a:moveTo>
                    <a:pt x="59674" y="59674"/>
                  </a:moveTo>
                  <a:lnTo>
                    <a:pt x="175204" y="175840"/>
                  </a:lnTo>
                </a:path>
              </a:pathLst>
            </a:custGeom>
            <a:ln w="23813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62B4AAC-01CE-431E-9943-3E6E6206C514}"/>
                </a:ext>
              </a:extLst>
            </p:cNvPr>
            <p:cNvSpPr/>
            <p:nvPr/>
          </p:nvSpPr>
          <p:spPr>
            <a:xfrm>
              <a:off x="6492169" y="4197138"/>
              <a:ext cx="95479" cy="636527"/>
            </a:xfrm>
            <a:custGeom>
              <a:avLst/>
              <a:gdLst>
                <a:gd name="connsiteX0" fmla="*/ 59674 w 95478"/>
                <a:gd name="connsiteY0" fmla="*/ 599131 h 636526"/>
                <a:gd name="connsiteX1" fmla="*/ 59674 w 95478"/>
                <a:gd name="connsiteY1" fmla="*/ 59674 h 636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478" h="636526">
                  <a:moveTo>
                    <a:pt x="59674" y="599131"/>
                  </a:moveTo>
                  <a:lnTo>
                    <a:pt x="59674" y="59674"/>
                  </a:lnTo>
                </a:path>
              </a:pathLst>
            </a:custGeom>
            <a:ln w="23813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4B5CA06-9CC8-43A1-8B6A-F0761B50B639}"/>
                </a:ext>
              </a:extLst>
            </p:cNvPr>
            <p:cNvSpPr/>
            <p:nvPr/>
          </p:nvSpPr>
          <p:spPr>
            <a:xfrm>
              <a:off x="6300256" y="4004907"/>
              <a:ext cx="286437" cy="286437"/>
            </a:xfrm>
            <a:custGeom>
              <a:avLst/>
              <a:gdLst>
                <a:gd name="connsiteX0" fmla="*/ 251269 w 286436"/>
                <a:gd name="connsiteY0" fmla="*/ 251905 h 286436"/>
                <a:gd name="connsiteX1" fmla="*/ 59674 w 286436"/>
                <a:gd name="connsiteY1" fmla="*/ 59674 h 286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6436" h="286436">
                  <a:moveTo>
                    <a:pt x="251269" y="251905"/>
                  </a:moveTo>
                  <a:lnTo>
                    <a:pt x="59674" y="59674"/>
                  </a:lnTo>
                </a:path>
              </a:pathLst>
            </a:custGeom>
            <a:ln w="23813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B0554F2-BFCF-4502-BCC9-8F529B5D59B5}"/>
                </a:ext>
              </a:extLst>
            </p:cNvPr>
            <p:cNvSpPr/>
            <p:nvPr/>
          </p:nvSpPr>
          <p:spPr>
            <a:xfrm>
              <a:off x="6492487" y="4004907"/>
              <a:ext cx="286437" cy="286437"/>
            </a:xfrm>
            <a:custGeom>
              <a:avLst/>
              <a:gdLst>
                <a:gd name="connsiteX0" fmla="*/ 59674 w 286436"/>
                <a:gd name="connsiteY0" fmla="*/ 251905 h 286436"/>
                <a:gd name="connsiteX1" fmla="*/ 251269 w 286436"/>
                <a:gd name="connsiteY1" fmla="*/ 59674 h 286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6436" h="286436">
                  <a:moveTo>
                    <a:pt x="59674" y="251905"/>
                  </a:moveTo>
                  <a:lnTo>
                    <a:pt x="251269" y="59674"/>
                  </a:lnTo>
                </a:path>
              </a:pathLst>
            </a:custGeom>
            <a:ln w="23813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366002A-8CDC-4191-98F0-98F2C81F5CED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182949" y="1019175"/>
            <a:ext cx="5222866" cy="1472497"/>
            <a:chOff x="158759" y="992324"/>
            <a:chExt cx="5222866" cy="1472497"/>
          </a:xfrm>
        </p:grpSpPr>
        <p:sp>
          <p:nvSpPr>
            <p:cNvPr id="28" name="Freeform: Shape 2">
              <a:extLst>
                <a:ext uri="{FF2B5EF4-FFF2-40B4-BE49-F238E27FC236}">
                  <a16:creationId xmlns:a16="http://schemas.microsoft.com/office/drawing/2014/main" id="{0A32D0F4-A4CB-47C9-9DCB-8288157C393D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158759" y="992324"/>
              <a:ext cx="5222866" cy="1472497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185959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185959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185959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42840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5992 w 1828800"/>
                <a:gd name="connsiteY1" fmla="*/ 0 h 914400"/>
                <a:gd name="connsiteX2" fmla="*/ 1828800 w 1828800"/>
                <a:gd name="connsiteY2" fmla="*/ 457200 h 914400"/>
                <a:gd name="connsiteX3" fmla="*/ 164284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5992 w 1828800"/>
                <a:gd name="connsiteY1" fmla="*/ 0 h 914400"/>
                <a:gd name="connsiteX2" fmla="*/ 1828800 w 1828800"/>
                <a:gd name="connsiteY2" fmla="*/ 457200 h 914400"/>
                <a:gd name="connsiteX3" fmla="*/ 173599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5992" y="0"/>
                  </a:lnTo>
                  <a:lnTo>
                    <a:pt x="1828800" y="457200"/>
                  </a:lnTo>
                  <a:lnTo>
                    <a:pt x="1735992" y="914400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0843200-8058-40D5-8A18-0DD336B60DBB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222259" y="1094581"/>
              <a:ext cx="4894317" cy="1267984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b="1" dirty="0">
                  <a:solidFill>
                    <a:schemeClr val="accent4"/>
                  </a:solidFill>
                </a:rPr>
                <a:t>Improve optical schem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b="1" dirty="0">
                  <a:solidFill>
                    <a:schemeClr val="accent4"/>
                  </a:solidFill>
                </a:rPr>
                <a:t>Automatizing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b="1" dirty="0">
                  <a:solidFill>
                    <a:schemeClr val="accent4"/>
                  </a:solidFill>
                </a:rPr>
                <a:t>St</a:t>
              </a:r>
              <a:r>
                <a:rPr lang="ru-RU" b="1" dirty="0">
                  <a:solidFill>
                    <a:schemeClr val="accent4"/>
                  </a:solidFill>
                </a:rPr>
                <a:t>а</a:t>
              </a:r>
              <a:r>
                <a:rPr lang="en-US" b="1" dirty="0" err="1">
                  <a:solidFill>
                    <a:schemeClr val="accent4"/>
                  </a:solidFill>
                </a:rPr>
                <a:t>bilizing</a:t>
              </a:r>
              <a:endParaRPr lang="en-US" b="1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4B971A24-C94C-4881-8307-A9F1029A3008}"/>
              </a:ext>
            </a:extLst>
          </p:cNvPr>
          <p:cNvSpPr txBox="1"/>
          <p:nvPr/>
        </p:nvSpPr>
        <p:spPr>
          <a:xfrm>
            <a:off x="329142" y="1293758"/>
            <a:ext cx="494106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6000" b="1" dirty="0">
                <a:solidFill>
                  <a:schemeClr val="accent3"/>
                </a:solidFill>
              </a:rPr>
              <a:t>1</a:t>
            </a:r>
            <a:endParaRPr lang="ru-RU" sz="6000" b="1" dirty="0">
              <a:solidFill>
                <a:schemeClr val="accent3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31422F0-1D25-4FD1-A0FB-C5107859CD2A}"/>
              </a:ext>
            </a:extLst>
          </p:cNvPr>
          <p:cNvSpPr txBox="1"/>
          <p:nvPr/>
        </p:nvSpPr>
        <p:spPr>
          <a:xfrm>
            <a:off x="329142" y="3043534"/>
            <a:ext cx="494106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6000" b="1" dirty="0">
                <a:solidFill>
                  <a:schemeClr val="accent3"/>
                </a:solidFill>
              </a:rPr>
              <a:t>2</a:t>
            </a:r>
            <a:endParaRPr lang="ru-RU" sz="6000" b="1" dirty="0">
              <a:solidFill>
                <a:schemeClr val="accent3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CC243D3-4904-4667-8FBE-DF06039AE70D}"/>
              </a:ext>
            </a:extLst>
          </p:cNvPr>
          <p:cNvSpPr txBox="1"/>
          <p:nvPr/>
        </p:nvSpPr>
        <p:spPr>
          <a:xfrm>
            <a:off x="329142" y="4793310"/>
            <a:ext cx="494106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ru-RU" sz="6000" b="1" dirty="0">
                <a:solidFill>
                  <a:schemeClr val="accent3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4521986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A51AB7-8C79-0D49-BA83-B00250DCB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07777"/>
          </a:xfrm>
        </p:spPr>
        <p:txBody>
          <a:bodyPr/>
          <a:lstStyle/>
          <a:p>
            <a:r>
              <a:rPr lang="en-US" dirty="0"/>
              <a:t>Problem</a:t>
            </a:r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72A4A52-32F9-EF46-90F5-645D2822DF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334" y="871978"/>
            <a:ext cx="6822923" cy="497751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Прямоугольник 3">
                <a:extLst>
                  <a:ext uri="{FF2B5EF4-FFF2-40B4-BE49-F238E27FC236}">
                    <a16:creationId xmlns:a16="http://schemas.microsoft.com/office/drawing/2014/main" id="{AA1DA163-5ECA-E748-A1E8-40FB7635CBE2}"/>
                  </a:ext>
                </a:extLst>
              </p:cNvPr>
              <p:cNvSpPr/>
              <p:nvPr/>
            </p:nvSpPr>
            <p:spPr>
              <a:xfrm>
                <a:off x="7981025" y="683581"/>
                <a:ext cx="3554492" cy="5557421"/>
              </a:xfrm>
              <a:prstGeom prst="rect">
                <a:avLst/>
              </a:prstGeom>
              <a:solidFill>
                <a:schemeClr val="accent3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buClr>
                    <a:schemeClr val="lt1"/>
                  </a:buClr>
                </a:pPr>
                <a:r>
                  <a:rPr lang="en-US" b="1" dirty="0">
                    <a:solidFill>
                      <a:schemeClr val="lt1"/>
                    </a:solidFill>
                  </a:rPr>
                  <a:t>Need to predict </a:t>
                </a:r>
                <a14:m>
                  <m:oMath xmlns:m="http://schemas.openxmlformats.org/officeDocument/2006/math">
                    <m:r>
                      <a:rPr lang="en-US" b="1" i="1" smtClean="0">
                        <a:solidFill>
                          <a:schemeClr val="lt1"/>
                        </a:solidFill>
                        <a:latin typeface="Cambria Math" panose="02040503050406030204" pitchFamily="18" charset="0"/>
                      </a:rPr>
                      <m:t>𝝓</m:t>
                    </m:r>
                  </m:oMath>
                </a14:m>
                <a:r>
                  <a:rPr lang="en-US" b="1" dirty="0">
                    <a:solidFill>
                      <a:schemeClr val="lt1"/>
                    </a:solidFill>
                  </a:rPr>
                  <a:t> using images from cameras</a:t>
                </a:r>
                <a:endParaRPr lang="ru-RU" b="1" dirty="0">
                  <a:solidFill>
                    <a:schemeClr val="lt1"/>
                  </a:solidFill>
                </a:endParaRPr>
              </a:p>
            </p:txBody>
          </p:sp>
        </mc:Choice>
        <mc:Fallback xmlns="">
          <p:sp>
            <p:nvSpPr>
              <p:cNvPr id="4" name="Прямоугольник 3">
                <a:extLst>
                  <a:ext uri="{FF2B5EF4-FFF2-40B4-BE49-F238E27FC236}">
                    <a16:creationId xmlns:a16="http://schemas.microsoft.com/office/drawing/2014/main" id="{AA1DA163-5ECA-E748-A1E8-40FB7635CB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81025" y="683581"/>
                <a:ext cx="3554492" cy="555742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 w="9525"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Graphic 4">
            <a:extLst>
              <a:ext uri="{FF2B5EF4-FFF2-40B4-BE49-F238E27FC236}">
                <a16:creationId xmlns:a16="http://schemas.microsoft.com/office/drawing/2014/main" id="{6AA9D357-11CE-4507-8124-F0E8086F17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96660" y="5246703"/>
            <a:ext cx="868469" cy="868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4663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3946256B-82EE-475B-816F-947EF97DB7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9155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4" name="think-cell Slide" r:id="rId16" imgW="306" imgH="306" progId="TCLayout.ActiveDocument.1">
                  <p:embed/>
                </p:oleObj>
              </mc:Choice>
              <mc:Fallback>
                <p:oleObj name="think-cell Slide" r:id="rId1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9ABF43CC-989F-4BD5-9EED-E8180348CE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Summary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D128452-41C1-4BE4-8AA1-8CBA597B5E2B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1225520" y="594946"/>
            <a:ext cx="2606604" cy="713543"/>
            <a:chOff x="1146699" y="594946"/>
            <a:chExt cx="2606604" cy="713543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285F78EC-A11A-4C89-B37B-8294E4B12FBA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1146699" y="594946"/>
              <a:ext cx="2606604" cy="71354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8688" y="0"/>
                  </a:lnTo>
                  <a:lnTo>
                    <a:pt x="1828800" y="457200"/>
                  </a:lnTo>
                  <a:lnTo>
                    <a:pt x="1738688" y="914400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E146DDA-B8A3-4078-8B63-40B694760708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1210199" y="644497"/>
              <a:ext cx="2414666" cy="61444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accent4"/>
                  </a:solidFill>
                </a:rPr>
                <a:t>Init model</a:t>
              </a:r>
              <a:endParaRPr lang="ru-RU" sz="1200" b="1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C2B1C250-028C-49BF-8A22-AE955B77AF2A}"/>
              </a:ext>
            </a:extLst>
          </p:cNvPr>
          <p:cNvSpPr txBox="1"/>
          <p:nvPr/>
        </p:nvSpPr>
        <p:spPr>
          <a:xfrm>
            <a:off x="158759" y="3232354"/>
            <a:ext cx="97789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accent3"/>
                </a:solidFill>
              </a:rPr>
              <a:t>Description</a:t>
            </a:r>
            <a:endParaRPr lang="ru-RU" sz="1200" b="1" dirty="0">
              <a:solidFill>
                <a:schemeClr val="accent3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35858D2-009A-44D1-924D-08AEC488EDF0}"/>
              </a:ext>
            </a:extLst>
          </p:cNvPr>
          <p:cNvCxnSpPr>
            <a:cxnSpLocks/>
          </p:cNvCxnSpPr>
          <p:nvPr/>
        </p:nvCxnSpPr>
        <p:spPr>
          <a:xfrm>
            <a:off x="158759" y="5353234"/>
            <a:ext cx="1149189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0687637E-D2F3-4B69-9508-C0008FB3BFC4}"/>
              </a:ext>
            </a:extLst>
          </p:cNvPr>
          <p:cNvSpPr txBox="1"/>
          <p:nvPr/>
        </p:nvSpPr>
        <p:spPr>
          <a:xfrm>
            <a:off x="158759" y="5895655"/>
            <a:ext cx="97789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accent3"/>
                </a:solidFill>
              </a:rPr>
              <a:t>MSE</a:t>
            </a:r>
            <a:endParaRPr lang="ru-RU" sz="1200" b="1" dirty="0">
              <a:solidFill>
                <a:schemeClr val="accent3"/>
              </a:solidFill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231A8EC-6095-4A43-A044-18372716B2B5}"/>
              </a:ext>
            </a:extLst>
          </p:cNvPr>
          <p:cNvCxnSpPr>
            <a:cxnSpLocks/>
          </p:cNvCxnSpPr>
          <p:nvPr/>
        </p:nvCxnSpPr>
        <p:spPr>
          <a:xfrm>
            <a:off x="1047567" y="1464816"/>
            <a:ext cx="0" cy="3719743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AD097B4-097C-485A-8181-50DE0347CD44}"/>
              </a:ext>
            </a:extLst>
          </p:cNvPr>
          <p:cNvCxnSpPr>
            <a:cxnSpLocks/>
          </p:cNvCxnSpPr>
          <p:nvPr/>
        </p:nvCxnSpPr>
        <p:spPr>
          <a:xfrm>
            <a:off x="1047567" y="5504155"/>
            <a:ext cx="0" cy="967666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8045D30F-7B92-43F0-8C65-B9EFB028CDE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837888" y="594946"/>
            <a:ext cx="2606604" cy="71354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38688" y="0"/>
                </a:lnTo>
                <a:lnTo>
                  <a:pt x="1828800" y="457200"/>
                </a:lnTo>
                <a:lnTo>
                  <a:pt x="1738688" y="914400"/>
                </a:lnTo>
                <a:lnTo>
                  <a:pt x="0" y="914400"/>
                </a:lnTo>
                <a:lnTo>
                  <a:pt x="90112" y="45720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accent4"/>
                </a:solidFill>
              </a:rPr>
              <a:t>Classic model</a:t>
            </a:r>
            <a:endParaRPr lang="ru-RU" sz="1200" dirty="0" err="1">
              <a:solidFill>
                <a:schemeClr val="tx1"/>
              </a:solidFill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0B7BA71-AF87-4BE3-96FB-10F3DED3938A}"/>
              </a:ext>
            </a:extLst>
          </p:cNvPr>
          <p:cNvGrpSpPr>
            <a:grpSpLocks/>
          </p:cNvGrpSpPr>
          <p:nvPr>
            <p:custDataLst>
              <p:tags r:id="rId6"/>
            </p:custDataLst>
          </p:nvPr>
        </p:nvGrpSpPr>
        <p:grpSpPr>
          <a:xfrm>
            <a:off x="6437870" y="594946"/>
            <a:ext cx="2606604" cy="713543"/>
            <a:chOff x="6397103" y="594946"/>
            <a:chExt cx="2606604" cy="713543"/>
          </a:xfrm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D52E5F10-E055-4BA4-8CC1-6BC22B8F2ED1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6397103" y="594946"/>
              <a:ext cx="2606604" cy="71354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8688" y="0"/>
                  </a:lnTo>
                  <a:lnTo>
                    <a:pt x="1828800" y="457200"/>
                  </a:lnTo>
                  <a:lnTo>
                    <a:pt x="1738688" y="914400"/>
                  </a:lnTo>
                  <a:lnTo>
                    <a:pt x="0" y="914400"/>
                  </a:lnTo>
                  <a:lnTo>
                    <a:pt x="90112" y="457201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dirty="0" err="1">
                <a:solidFill>
                  <a:schemeClr val="tx1"/>
                </a:solidFill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EE56F401-EBF0-451F-AF39-B20E6F299A8C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6576340" y="644497"/>
              <a:ext cx="2298929" cy="61444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accent4"/>
                  </a:solidFill>
                </a:rPr>
                <a:t>Machine learning</a:t>
              </a:r>
              <a:endParaRPr lang="ru-RU" sz="12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381F5A9-0A34-4B5E-9C8F-87F1F32B865A}"/>
              </a:ext>
            </a:extLst>
          </p:cNvPr>
          <p:cNvGrpSpPr>
            <a:grpSpLocks/>
          </p:cNvGrpSpPr>
          <p:nvPr>
            <p:custDataLst>
              <p:tags r:id="rId7"/>
            </p:custDataLst>
          </p:nvPr>
        </p:nvGrpSpPr>
        <p:grpSpPr>
          <a:xfrm>
            <a:off x="9044046" y="594946"/>
            <a:ext cx="2606604" cy="713543"/>
            <a:chOff x="3753303" y="594946"/>
            <a:chExt cx="2606604" cy="713543"/>
          </a:xfrm>
        </p:grpSpPr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232FBE27-4925-4C44-ABE1-602EF50E5548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3753303" y="594946"/>
              <a:ext cx="2606604" cy="71354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0362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0036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3385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3385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78659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0141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50141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82194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606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46606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  <a:gd name="connsiteX0" fmla="*/ 0 w 1828800"/>
                <a:gd name="connsiteY0" fmla="*/ 0 h 914400"/>
                <a:gd name="connsiteX1" fmla="*/ 1738688 w 1828800"/>
                <a:gd name="connsiteY1" fmla="*/ 0 h 914400"/>
                <a:gd name="connsiteX2" fmla="*/ 1828800 w 1828800"/>
                <a:gd name="connsiteY2" fmla="*/ 457200 h 914400"/>
                <a:gd name="connsiteX3" fmla="*/ 1738688 w 1828800"/>
                <a:gd name="connsiteY3" fmla="*/ 914400 h 914400"/>
                <a:gd name="connsiteX4" fmla="*/ 0 w 1828800"/>
                <a:gd name="connsiteY4" fmla="*/ 914400 h 914400"/>
                <a:gd name="connsiteX5" fmla="*/ 90112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8688" y="0"/>
                  </a:lnTo>
                  <a:lnTo>
                    <a:pt x="1828800" y="457200"/>
                  </a:lnTo>
                  <a:lnTo>
                    <a:pt x="1738688" y="914400"/>
                  </a:lnTo>
                  <a:lnTo>
                    <a:pt x="0" y="914400"/>
                  </a:lnTo>
                  <a:lnTo>
                    <a:pt x="90112" y="457201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CD80EDA6-32E5-4AF3-BCA2-96B7C4CAA5FB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>
            <a:xfrm>
              <a:off x="3932541" y="644497"/>
              <a:ext cx="2298929" cy="61444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accent4"/>
                  </a:solidFill>
                </a:rPr>
                <a:t>Ensemble</a:t>
              </a:r>
              <a:endParaRPr lang="ru-RU" sz="1200" b="1" dirty="0">
                <a:solidFill>
                  <a:schemeClr val="accent4"/>
                </a:solidFill>
              </a:endParaRPr>
            </a:p>
          </p:txBody>
        </p:sp>
      </p:grp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934DAF9-0E44-5145-BBD7-FC3559FB4C0E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538208" y="1677714"/>
            <a:ext cx="1981229" cy="157588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19A00CC-6877-4240-9EC9-8F2A9FD9BE56}"/>
              </a:ext>
            </a:extLst>
          </p:cNvPr>
          <p:cNvSpPr txBox="1"/>
          <p:nvPr/>
        </p:nvSpPr>
        <p:spPr>
          <a:xfrm rot="10800000" flipV="1">
            <a:off x="1518914" y="3460364"/>
            <a:ext cx="201981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redicted intensities using previous measurement.</a:t>
            </a:r>
          </a:p>
          <a:p>
            <a:r>
              <a:rPr lang="en-US" sz="1400" dirty="0"/>
              <a:t>Simple model, using approximation of two sinuses</a:t>
            </a:r>
            <a:endParaRPr lang="ru-RU" sz="1400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871B587-60E3-B340-91AE-FC48A557CC95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095420" y="1677714"/>
            <a:ext cx="2091541" cy="157588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6C18137C-A709-C440-9713-6FFEC490A116}"/>
                  </a:ext>
                </a:extLst>
              </p:cNvPr>
              <p:cNvSpPr txBox="1"/>
              <p:nvPr/>
            </p:nvSpPr>
            <p:spPr>
              <a:xfrm>
                <a:off x="4151861" y="3460364"/>
                <a:ext cx="1978658" cy="16312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/>
                  <a:t>Predicted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𝜙</m:t>
                    </m:r>
                  </m:oMath>
                </a14:m>
                <a:r>
                  <a:rPr lang="en-US" sz="1400" dirty="0"/>
                  <a:t> using measurement from three cameras</a:t>
                </a:r>
              </a:p>
              <a:p>
                <a:r>
                  <a:rPr lang="en-US" sz="1400" dirty="0"/>
                  <a:t>The prediction is based on the intensity distribution over phi</a:t>
                </a:r>
              </a:p>
              <a:p>
                <a:endParaRPr lang="ru-RU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6C18137C-A709-C440-9713-6FFEC490A1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51861" y="3460364"/>
                <a:ext cx="1978658" cy="1631216"/>
              </a:xfrm>
              <a:prstGeom prst="rect">
                <a:avLst/>
              </a:prstGeom>
              <a:blipFill>
                <a:blip r:embed="rId20"/>
                <a:stretch>
                  <a:fillRect l="-923" t="-74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3530632-59FE-5942-82AA-E5BED7DB0B5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690240" y="1677714"/>
            <a:ext cx="2101865" cy="157588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4B27FE6-40CD-5649-93A5-F6F435FDBBF5}"/>
              </a:ext>
            </a:extLst>
          </p:cNvPr>
          <p:cNvSpPr txBox="1"/>
          <p:nvPr/>
        </p:nvSpPr>
        <p:spPr>
          <a:xfrm>
            <a:off x="6786363" y="3460364"/>
            <a:ext cx="190961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Using Machine Learning models with Principle Component Analysis</a:t>
            </a:r>
          </a:p>
          <a:p>
            <a:r>
              <a:rPr lang="en-US" sz="1400" dirty="0"/>
              <a:t>Using the images from cameras</a:t>
            </a:r>
            <a:endParaRPr lang="ru-RU" sz="1400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87E0D948-4D37-9741-8D53-7847C55CB677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9297059" y="1674072"/>
            <a:ext cx="2100578" cy="161558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C9ABF6A-83FE-F846-8115-D423CF3A071B}"/>
              </a:ext>
            </a:extLst>
          </p:cNvPr>
          <p:cNvSpPr txBox="1"/>
          <p:nvPr/>
        </p:nvSpPr>
        <p:spPr>
          <a:xfrm rot="10800000" flipV="1">
            <a:off x="9437991" y="3460364"/>
            <a:ext cx="181871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Ensemble of 10 classical models, 15 neural nets and 10 Random Forest Regressors</a:t>
            </a:r>
          </a:p>
          <a:p>
            <a:r>
              <a:rPr lang="en-US" sz="1400" dirty="0"/>
              <a:t>Achieved the best results</a:t>
            </a:r>
            <a:endParaRPr lang="ru-RU" sz="14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AB33125-1502-4EA8-AFBD-643754E6A087}"/>
              </a:ext>
            </a:extLst>
          </p:cNvPr>
          <p:cNvSpPr txBox="1"/>
          <p:nvPr/>
        </p:nvSpPr>
        <p:spPr>
          <a:xfrm>
            <a:off x="4425291" y="5864878"/>
            <a:ext cx="143179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dirty="0"/>
              <a:t>1.1×10</a:t>
            </a:r>
            <a:r>
              <a:rPr lang="en-US" baseline="30000" dirty="0"/>
              <a:t>-6</a:t>
            </a:r>
            <a:endParaRPr lang="ru-RU" baseline="300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C0EA779-9019-447E-96E0-A7FBBFD4F7AA}"/>
              </a:ext>
            </a:extLst>
          </p:cNvPr>
          <p:cNvSpPr txBox="1"/>
          <p:nvPr/>
        </p:nvSpPr>
        <p:spPr>
          <a:xfrm>
            <a:off x="1812923" y="5864878"/>
            <a:ext cx="143179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dirty="0"/>
              <a:t>2.1×10</a:t>
            </a:r>
            <a:r>
              <a:rPr lang="en-US" baseline="30000" dirty="0"/>
              <a:t>-6</a:t>
            </a:r>
            <a:endParaRPr lang="ru-RU" baseline="300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56117AB-0789-4132-A46E-B148F78BC593}"/>
              </a:ext>
            </a:extLst>
          </p:cNvPr>
          <p:cNvSpPr txBox="1"/>
          <p:nvPr/>
        </p:nvSpPr>
        <p:spPr>
          <a:xfrm>
            <a:off x="7025273" y="5864878"/>
            <a:ext cx="143179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dirty="0"/>
              <a:t>5.5×10</a:t>
            </a:r>
            <a:r>
              <a:rPr lang="en-US" baseline="30000" dirty="0"/>
              <a:t>-8</a:t>
            </a:r>
            <a:endParaRPr lang="ru-RU" baseline="300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4EBBA2A-A6DC-4220-A66D-7EA9945ECD73}"/>
              </a:ext>
            </a:extLst>
          </p:cNvPr>
          <p:cNvSpPr txBox="1"/>
          <p:nvPr/>
        </p:nvSpPr>
        <p:spPr>
          <a:xfrm>
            <a:off x="9631449" y="5864878"/>
            <a:ext cx="143179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dirty="0"/>
              <a:t>6.9×10</a:t>
            </a:r>
            <a:r>
              <a:rPr lang="en-US" baseline="30000" dirty="0"/>
              <a:t>-9</a:t>
            </a:r>
            <a:endParaRPr lang="ru-RU" baseline="30000" dirty="0"/>
          </a:p>
        </p:txBody>
      </p:sp>
    </p:spTree>
    <p:extLst>
      <p:ext uri="{BB962C8B-B14F-4D97-AF65-F5344CB8AC3E}">
        <p14:creationId xmlns:p14="http://schemas.microsoft.com/office/powerpoint/2010/main" val="40969793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08D1892-92A0-EC40-99B0-776FB4FC0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cal Model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BD90198-C309-014D-9C3D-A2FDE8E043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18414" y="3745573"/>
            <a:ext cx="3505706" cy="2579028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5016F1B-42AC-E14F-9666-6FC2507039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0082" y="852256"/>
            <a:ext cx="3504038" cy="257902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9DC51DD-6C57-FF45-ACA7-5A98259554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26662" y="3728633"/>
            <a:ext cx="3504037" cy="2595968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136F9AD-D2B9-A14E-9163-3AC7F40F2A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10350" y="852256"/>
            <a:ext cx="3618682" cy="2508481"/>
          </a:xfrm>
          <a:prstGeom prst="rect">
            <a:avLst/>
          </a:prstGeom>
        </p:spPr>
      </p:pic>
      <p:sp>
        <p:nvSpPr>
          <p:cNvPr id="11" name="Freeform: Shape 2">
            <a:extLst>
              <a:ext uri="{FF2B5EF4-FFF2-40B4-BE49-F238E27FC236}">
                <a16:creationId xmlns:a16="http://schemas.microsoft.com/office/drawing/2014/main" id="{54071387-60C5-0F41-8D3A-C519F9A980C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338763" y="1913653"/>
            <a:ext cx="1147762" cy="45807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38688" y="0"/>
                </a:lnTo>
                <a:lnTo>
                  <a:pt x="1828800" y="457200"/>
                </a:lnTo>
                <a:lnTo>
                  <a:pt x="1738688" y="914400"/>
                </a:lnTo>
                <a:lnTo>
                  <a:pt x="0" y="914400"/>
                </a:lnTo>
                <a:lnTo>
                  <a:pt x="0" y="45720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err="1">
              <a:solidFill>
                <a:schemeClr val="tx1"/>
              </a:solidFill>
            </a:endParaRPr>
          </a:p>
        </p:txBody>
      </p:sp>
      <p:sp>
        <p:nvSpPr>
          <p:cNvPr id="13" name="Freeform: Shape 2">
            <a:extLst>
              <a:ext uri="{FF2B5EF4-FFF2-40B4-BE49-F238E27FC236}">
                <a16:creationId xmlns:a16="http://schemas.microsoft.com/office/drawing/2014/main" id="{325F1B49-E716-BA4B-A0FF-DE513A5434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401510" y="4797581"/>
            <a:ext cx="1147762" cy="45807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38688" y="0"/>
                </a:lnTo>
                <a:lnTo>
                  <a:pt x="1828800" y="457200"/>
                </a:lnTo>
                <a:lnTo>
                  <a:pt x="1738688" y="914400"/>
                </a:lnTo>
                <a:lnTo>
                  <a:pt x="0" y="914400"/>
                </a:lnTo>
                <a:lnTo>
                  <a:pt x="0" y="45720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86375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08D1892-92A0-EC40-99B0-776FB4FC0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cal Model</a:t>
            </a:r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9DC51DD-6C57-FF45-ACA7-5A98259554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33059" y="3747411"/>
            <a:ext cx="3504037" cy="2595968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136F9AD-D2B9-A14E-9163-3AC7F40F2A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8414" y="888448"/>
            <a:ext cx="3618682" cy="2508481"/>
          </a:xfrm>
          <a:prstGeom prst="rect">
            <a:avLst/>
          </a:prstGeom>
        </p:spPr>
      </p:pic>
      <p:sp>
        <p:nvSpPr>
          <p:cNvPr id="11" name="Freeform: Shape 2">
            <a:extLst>
              <a:ext uri="{FF2B5EF4-FFF2-40B4-BE49-F238E27FC236}">
                <a16:creationId xmlns:a16="http://schemas.microsoft.com/office/drawing/2014/main" id="{54071387-60C5-0F41-8D3A-C519F9A980C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338763" y="1913653"/>
            <a:ext cx="1147762" cy="45807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38688" y="0"/>
                </a:lnTo>
                <a:lnTo>
                  <a:pt x="1828800" y="457200"/>
                </a:lnTo>
                <a:lnTo>
                  <a:pt x="1738688" y="914400"/>
                </a:lnTo>
                <a:lnTo>
                  <a:pt x="0" y="914400"/>
                </a:lnTo>
                <a:lnTo>
                  <a:pt x="0" y="45720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err="1">
              <a:solidFill>
                <a:schemeClr val="tx1"/>
              </a:solidFill>
            </a:endParaRPr>
          </a:p>
        </p:txBody>
      </p:sp>
      <p:sp>
        <p:nvSpPr>
          <p:cNvPr id="13" name="Freeform: Shape 2">
            <a:extLst>
              <a:ext uri="{FF2B5EF4-FFF2-40B4-BE49-F238E27FC236}">
                <a16:creationId xmlns:a16="http://schemas.microsoft.com/office/drawing/2014/main" id="{325F1B49-E716-BA4B-A0FF-DE513A5434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401510" y="4797581"/>
            <a:ext cx="1147762" cy="45807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38688" y="0"/>
                </a:lnTo>
                <a:lnTo>
                  <a:pt x="1828800" y="457200"/>
                </a:lnTo>
                <a:lnTo>
                  <a:pt x="1738688" y="914400"/>
                </a:lnTo>
                <a:lnTo>
                  <a:pt x="0" y="914400"/>
                </a:lnTo>
                <a:lnTo>
                  <a:pt x="0" y="45720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err="1">
              <a:solidFill>
                <a:schemeClr val="tx1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Прямоугольник 9">
                <a:extLst>
                  <a:ext uri="{FF2B5EF4-FFF2-40B4-BE49-F238E27FC236}">
                    <a16:creationId xmlns:a16="http://schemas.microsoft.com/office/drawing/2014/main" id="{E9B510A0-8E05-3849-8AE3-93542989A48D}"/>
                  </a:ext>
                </a:extLst>
              </p:cNvPr>
              <p:cNvSpPr/>
              <p:nvPr/>
            </p:nvSpPr>
            <p:spPr>
              <a:xfrm>
                <a:off x="6676207" y="618218"/>
                <a:ext cx="3554492" cy="5557421"/>
              </a:xfrm>
              <a:prstGeom prst="rect">
                <a:avLst/>
              </a:prstGeom>
              <a:solidFill>
                <a:schemeClr val="accent3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buClr>
                    <a:schemeClr val="lt1"/>
                  </a:buClr>
                </a:pPr>
                <a:r>
                  <a:rPr lang="en-US" b="1" dirty="0"/>
                  <a:t>For the selected points we calculate two values :</a:t>
                </a:r>
              </a:p>
              <a:p>
                <a:pPr algn="ctr">
                  <a:buClr>
                    <a:schemeClr val="l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𝝁</m:t>
                      </m:r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𝒏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b="1" i="1" smtClean="0">
                              <a:latin typeface="Cambria Math" panose="02040503050406030204" pitchFamily="18" charset="0"/>
                            </a:rPr>
                            <m:t>𝒊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  <m:sup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𝒏</m:t>
                          </m:r>
                        </m:sup>
                        <m:e>
                          <m:sSub>
                            <m:sSub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𝑰</m:t>
                              </m:r>
                            </m:e>
                            <m:sub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en-US" b="1" dirty="0"/>
              </a:p>
              <a:p>
                <a:pPr algn="ctr">
                  <a:buClr>
                    <a:schemeClr val="l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𝝈</m:t>
                      </m:r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= </m:t>
                      </m:r>
                      <m:rad>
                        <m:radPr>
                          <m:degHide m:val="on"/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num>
                            <m:den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𝒏</m:t>
                              </m:r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den>
                          </m:f>
                          <m:nary>
                            <m:naryPr>
                              <m:chr m:val="∑"/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</m:sub>
                            <m:sup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𝒏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b="1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b="1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b="1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b="1" i="1" smtClean="0">
                                              <a:latin typeface="Cambria Math" panose="02040503050406030204" pitchFamily="18" charset="0"/>
                                            </a:rPr>
                                            <m:t>𝑰</m:t>
                                          </m:r>
                                        </m:e>
                                        <m:sub>
                                          <m:r>
                                            <a:rPr lang="en-US" b="1" i="1" smtClean="0">
                                              <a:latin typeface="Cambria Math" panose="02040503050406030204" pitchFamily="18" charset="0"/>
                                            </a:rPr>
                                            <m:t>𝒊</m:t>
                                          </m:r>
                                        </m:sub>
                                      </m:sSub>
                                      <m:r>
                                        <a:rPr lang="en-US" b="1" i="1" smtClean="0">
                                          <a:latin typeface="Cambria Math" panose="02040503050406030204" pitchFamily="18" charset="0"/>
                                        </a:rPr>
                                        <m:t> − &lt;</m:t>
                                      </m:r>
                                      <m:r>
                                        <a:rPr lang="en-US" b="1" i="1" smtClean="0">
                                          <a:latin typeface="Cambria Math" panose="02040503050406030204" pitchFamily="18" charset="0"/>
                                        </a:rPr>
                                        <m:t>𝑰</m:t>
                                      </m:r>
                                      <m:r>
                                        <a:rPr lang="en-US" b="1" i="1" smtClean="0">
                                          <a:latin typeface="Cambria Math" panose="02040503050406030204" pitchFamily="18" charset="0"/>
                                        </a:rPr>
                                        <m:t>&gt;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b="1" i="1" smtClean="0">
                                      <a:latin typeface="Cambria Math" panose="02040503050406030204" pitchFamily="18" charset="0"/>
                                    </a:rPr>
                                    <m:t>𝟐</m:t>
                                  </m:r>
                                </m:sup>
                              </m:sSup>
                            </m:e>
                          </m:nary>
                        </m:e>
                      </m:rad>
                    </m:oMath>
                  </m:oMathPara>
                </a14:m>
                <a:endParaRPr lang="en-US" b="1" dirty="0"/>
              </a:p>
            </p:txBody>
          </p:sp>
        </mc:Choice>
        <mc:Fallback>
          <p:sp>
            <p:nvSpPr>
              <p:cNvPr id="10" name="Прямоугольник 9">
                <a:extLst>
                  <a:ext uri="{FF2B5EF4-FFF2-40B4-BE49-F238E27FC236}">
                    <a16:creationId xmlns:a16="http://schemas.microsoft.com/office/drawing/2014/main" id="{E9B510A0-8E05-3849-8AE3-93542989A4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76207" y="618218"/>
                <a:ext cx="3554492" cy="555742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9525"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538171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08D1892-92A0-EC40-99B0-776FB4FC0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cal Model</a:t>
            </a:r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E05C0C7-F63F-154B-B8C7-D205F162A8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24993" y="3745573"/>
            <a:ext cx="3448898" cy="2579028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BD90198-C309-014D-9C3D-A2FDE8E043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8414" y="3745573"/>
            <a:ext cx="3505706" cy="2579028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5016F1B-42AC-E14F-9666-6FC2507039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20082" y="852256"/>
            <a:ext cx="3504038" cy="2579027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BC0A3E7-D55F-1D4F-82D5-D85C595FDF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6944" y="852257"/>
            <a:ext cx="3499614" cy="2579026"/>
          </a:xfrm>
          <a:prstGeom prst="rect">
            <a:avLst/>
          </a:prstGeom>
        </p:spPr>
      </p:pic>
      <p:sp>
        <p:nvSpPr>
          <p:cNvPr id="8" name="Freeform: Shape 2">
            <a:extLst>
              <a:ext uri="{FF2B5EF4-FFF2-40B4-BE49-F238E27FC236}">
                <a16:creationId xmlns:a16="http://schemas.microsoft.com/office/drawing/2014/main" id="{5E0870A9-2DBE-4840-9130-65152AC91C1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400675" y="1912733"/>
            <a:ext cx="1147762" cy="45807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38688" y="0"/>
                </a:lnTo>
                <a:lnTo>
                  <a:pt x="1828800" y="457200"/>
                </a:lnTo>
                <a:lnTo>
                  <a:pt x="1738688" y="914400"/>
                </a:lnTo>
                <a:lnTo>
                  <a:pt x="0" y="914400"/>
                </a:lnTo>
                <a:lnTo>
                  <a:pt x="0" y="45720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err="1">
              <a:solidFill>
                <a:schemeClr val="tx1"/>
              </a:solidFill>
            </a:endParaRPr>
          </a:p>
        </p:txBody>
      </p:sp>
      <p:sp>
        <p:nvSpPr>
          <p:cNvPr id="9" name="Freeform: Shape 2">
            <a:extLst>
              <a:ext uri="{FF2B5EF4-FFF2-40B4-BE49-F238E27FC236}">
                <a16:creationId xmlns:a16="http://schemas.microsoft.com/office/drawing/2014/main" id="{BEDDCCFF-BAF8-4B4B-A951-B7178BC7AB6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400675" y="4806051"/>
            <a:ext cx="1147762" cy="45807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38688" y="0"/>
                </a:lnTo>
                <a:lnTo>
                  <a:pt x="1828800" y="457200"/>
                </a:lnTo>
                <a:lnTo>
                  <a:pt x="1738688" y="914400"/>
                </a:lnTo>
                <a:lnTo>
                  <a:pt x="0" y="914400"/>
                </a:lnTo>
                <a:lnTo>
                  <a:pt x="0" y="45720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4653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08D1892-92A0-EC40-99B0-776FB4FC0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cal Model</a:t>
            </a:r>
            <a:endParaRPr lang="ru-RU" dirty="0"/>
          </a:p>
        </p:txBody>
      </p:sp>
      <p:sp>
        <p:nvSpPr>
          <p:cNvPr id="8" name="Freeform: Shape 2">
            <a:extLst>
              <a:ext uri="{FF2B5EF4-FFF2-40B4-BE49-F238E27FC236}">
                <a16:creationId xmlns:a16="http://schemas.microsoft.com/office/drawing/2014/main" id="{5E0870A9-2DBE-4840-9130-65152AC91C1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400675" y="1912733"/>
            <a:ext cx="1147762" cy="45807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38688" y="0"/>
                </a:lnTo>
                <a:lnTo>
                  <a:pt x="1828800" y="457200"/>
                </a:lnTo>
                <a:lnTo>
                  <a:pt x="1738688" y="914400"/>
                </a:lnTo>
                <a:lnTo>
                  <a:pt x="0" y="914400"/>
                </a:lnTo>
                <a:lnTo>
                  <a:pt x="0" y="45720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err="1">
              <a:solidFill>
                <a:schemeClr val="tx1"/>
              </a:solidFill>
            </a:endParaRPr>
          </a:p>
        </p:txBody>
      </p:sp>
      <p:sp>
        <p:nvSpPr>
          <p:cNvPr id="9" name="Freeform: Shape 2">
            <a:extLst>
              <a:ext uri="{FF2B5EF4-FFF2-40B4-BE49-F238E27FC236}">
                <a16:creationId xmlns:a16="http://schemas.microsoft.com/office/drawing/2014/main" id="{BEDDCCFF-BAF8-4B4B-A951-B7178BC7AB6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400675" y="4806051"/>
            <a:ext cx="1147762" cy="45807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00362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0036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3385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3385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78659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0141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50141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82194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6606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46606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90112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38688 w 1828800"/>
              <a:gd name="connsiteY1" fmla="*/ 0 h 914400"/>
              <a:gd name="connsiteX2" fmla="*/ 1828800 w 1828800"/>
              <a:gd name="connsiteY2" fmla="*/ 457200 h 914400"/>
              <a:gd name="connsiteX3" fmla="*/ 17386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38688" y="0"/>
                </a:lnTo>
                <a:lnTo>
                  <a:pt x="1828800" y="457200"/>
                </a:lnTo>
                <a:lnTo>
                  <a:pt x="1738688" y="914400"/>
                </a:lnTo>
                <a:lnTo>
                  <a:pt x="0" y="914400"/>
                </a:lnTo>
                <a:lnTo>
                  <a:pt x="0" y="45720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err="1">
              <a:solidFill>
                <a:schemeClr val="tx1"/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217FBE28-D162-9C4E-A62A-8CC6A16F0A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3273" y="3745572"/>
            <a:ext cx="3500846" cy="257902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CF6C535-BD84-9145-B4D7-C4BD610C9A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3273" y="852256"/>
            <a:ext cx="3515295" cy="2579026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2" name="Прямоугольник 11">
                <a:extLst>
                  <a:ext uri="{FF2B5EF4-FFF2-40B4-BE49-F238E27FC236}">
                    <a16:creationId xmlns:a16="http://schemas.microsoft.com/office/drawing/2014/main" id="{F9CFEE8B-5C03-D24F-B6F1-4EDC395F3EAE}"/>
                  </a:ext>
                </a:extLst>
              </p:cNvPr>
              <p:cNvSpPr/>
              <p:nvPr/>
            </p:nvSpPr>
            <p:spPr>
              <a:xfrm>
                <a:off x="6676207" y="618218"/>
                <a:ext cx="3554492" cy="5557421"/>
              </a:xfrm>
              <a:prstGeom prst="rect">
                <a:avLst/>
              </a:prstGeom>
              <a:solidFill>
                <a:schemeClr val="accent3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buClr>
                    <a:schemeClr val="lt1"/>
                  </a:buClr>
                </a:pPr>
                <a:r>
                  <a:rPr lang="en-US" b="1" dirty="0"/>
                  <a:t>Ln(Probability)(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</a:rPr>
                      <m:t>𝝓</m:t>
                    </m:r>
                  </m:oMath>
                </a14:m>
                <a:r>
                  <a:rPr lang="en-US" b="1" dirty="0"/>
                  <a:t>) =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b="1" i="1" smtClean="0">
                            <a:latin typeface="Cambria Math" panose="02040503050406030204" pitchFamily="18" charset="0"/>
                          </a:rPr>
                          <m:t>𝒊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  <m:sup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𝑵</m:t>
                        </m:r>
                      </m:sup>
                      <m:e>
                        <m:f>
                          <m:f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b="1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b="1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b="1" i="1" smtClean="0">
                                            <a:latin typeface="Cambria Math" panose="02040503050406030204" pitchFamily="18" charset="0"/>
                                          </a:rPr>
                                          <m:t>𝑰</m:t>
                                        </m:r>
                                      </m:e>
                                      <m:sub>
                                        <m:r>
                                          <a:rPr lang="en-US" b="1" i="1" smtClean="0">
                                            <a:latin typeface="Cambria Math" panose="02040503050406030204" pitchFamily="18" charset="0"/>
                                          </a:rPr>
                                          <m:t>𝒊</m:t>
                                        </m:r>
                                      </m:sub>
                                    </m:sSub>
                                    <m:r>
                                      <a:rPr lang="en-US" b="1" i="1" smtClean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>
                                      <m:sSubPr>
                                        <m:ctrlPr>
                                          <a:rPr lang="en-US" b="1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b="1" i="1" smtClean="0">
                                            <a:latin typeface="Cambria Math" panose="02040503050406030204" pitchFamily="18" charset="0"/>
                                          </a:rPr>
                                          <m:t>𝝁</m:t>
                                        </m:r>
                                      </m:e>
                                      <m:sub>
                                        <m:r>
                                          <a:rPr lang="en-US" b="1" i="1" smtClean="0">
                                            <a:latin typeface="Cambria Math" panose="02040503050406030204" pitchFamily="18" charset="0"/>
                                          </a:rPr>
                                          <m:t>𝒊</m:t>
                                        </m:r>
                                      </m:sub>
                                    </m:sSub>
                                    <m:d>
                                      <m:dPr>
                                        <m:ctrlPr>
                                          <a:rPr lang="en-US" b="1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b="1" i="1" smtClean="0">
                                            <a:latin typeface="Cambria Math" panose="02040503050406030204" pitchFamily="18" charset="0"/>
                                          </a:rPr>
                                          <m:t>𝝓</m:t>
                                        </m:r>
                                      </m:e>
                                    </m:d>
                                  </m:e>
                                </m:d>
                              </m:e>
                              <m:sup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sup>
                            </m:sSup>
                          </m:num>
                          <m:den>
                            <m:r>
                              <a:rPr lang="en-US" b="1" i="1" smtClean="0">
                                <a:latin typeface="Cambria Math" panose="02040503050406030204" pitchFamily="18" charset="0"/>
                              </a:rPr>
                              <m:t>𝟐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</a:rPr>
                              <m:t>𝝈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m:rPr>
                                <m:lit/>
                              </m:rPr>
                              <a:rPr lang="en-US" b="1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</a:rPr>
                              <m:t>𝝓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</a:rPr>
                              <m:t>)</m:t>
                            </m:r>
                          </m:den>
                        </m:f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nary>
                  </m:oMath>
                </a14:m>
                <a:endParaRPr lang="en-US" b="1" dirty="0"/>
              </a:p>
            </p:txBody>
          </p:sp>
        </mc:Choice>
        <mc:Fallback>
          <p:sp>
            <p:nvSpPr>
              <p:cNvPr id="12" name="Прямоугольник 11">
                <a:extLst>
                  <a:ext uri="{FF2B5EF4-FFF2-40B4-BE49-F238E27FC236}">
                    <a16:creationId xmlns:a16="http://schemas.microsoft.com/office/drawing/2014/main" id="{F9CFEE8B-5C03-D24F-B6F1-4EDC395F3EA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76207" y="618218"/>
                <a:ext cx="3554492" cy="555742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9525"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219690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08D1892-92A0-EC40-99B0-776FB4FC0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cal Model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587E212-CB5B-C448-A062-2EC7CBB678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0783" y="537966"/>
            <a:ext cx="7827842" cy="564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5764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08D1892-92A0-EC40-99B0-776FB4FC0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cal Model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8DE87A6-72CA-044D-AD98-AC61FEACFA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0834" y="474662"/>
            <a:ext cx="7967739" cy="577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8599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ISNEWSLIDENUMBER" val="True"/>
  <p:tag name="NEWNAMES2" val="True"/>
  <p:tag name="PREVIOUSNAME" val="C:\Temp\Development\McK FirmFormat\McKinsey.FirmFormat-insiders\McK FirmFormat Templates\Templates\Firm Format - template - LOP - wide - RL.potx"/>
  <p:tag name="TEMPLATECREATED" val="2019-06-12 12:04 PM"/>
  <p:tag name="TEMPLATELASTEDITED" val="2019-06-24 02:20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4iLI9oGfXr3G1g__yR2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tJvSRAi07Suk9UEmwZt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9BUjy74XGN_oYthdswK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.potx" id="{13C89596-CA46-49FE-8759-AF466791A752}" vid="{129FEF66-2A94-41F7-B48D-E9EEFD99D971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Wide</Template>
  <TotalTime>0</TotalTime>
  <Words>226</Words>
  <Application>Microsoft Macintosh PowerPoint</Application>
  <PresentationFormat>Произвольный</PresentationFormat>
  <Paragraphs>61</Paragraphs>
  <Slides>1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9" baseType="lpstr">
      <vt:lpstr>Arial</vt:lpstr>
      <vt:lpstr>Cambria Math</vt:lpstr>
      <vt:lpstr>Firm Format - template_Blue</vt:lpstr>
      <vt:lpstr>think-cell Slide</vt:lpstr>
      <vt:lpstr>Machine learning in optical metrology</vt:lpstr>
      <vt:lpstr>Problem</vt:lpstr>
      <vt:lpstr>Summary</vt:lpstr>
      <vt:lpstr>Classical Model</vt:lpstr>
      <vt:lpstr>Classical Model</vt:lpstr>
      <vt:lpstr>Classical Model</vt:lpstr>
      <vt:lpstr>Classical Model</vt:lpstr>
      <vt:lpstr>Classical Model</vt:lpstr>
      <vt:lpstr>Classical Model</vt:lpstr>
      <vt:lpstr>Classical model</vt:lpstr>
      <vt:lpstr>Convolutional Neural Network (CNN)</vt:lpstr>
      <vt:lpstr>Principle Component Analysis + neural network</vt:lpstr>
      <vt:lpstr>Ensemble methods</vt:lpstr>
      <vt:lpstr>Ensemble efficiency</vt:lpstr>
      <vt:lpstr>Future step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9-09-23T14:08:02Z</dcterms:created>
  <dcterms:modified xsi:type="dcterms:W3CDTF">2019-10-03T15:11:38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PT">
    <vt:lpwstr>Hello</vt:lpwstr>
  </property>
  <property fmtid="{D5CDD505-2E9C-101B-9397-08002B2CF9AE}" pid="3" name="TemplateCreated">
    <vt:lpwstr>2019-06-12 12:04 PM</vt:lpwstr>
  </property>
  <property fmtid="{D5CDD505-2E9C-101B-9397-08002B2CF9AE}" pid="4" name="TemplateLastEdited">
    <vt:lpwstr>2019-06-24 02:20 PM</vt:lpwstr>
  </property>
</Properties>
</file>